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4" r:id="rId1"/>
  </p:sldMasterIdLst>
  <p:notesMasterIdLst>
    <p:notesMasterId r:id="rId5"/>
  </p:notesMasterIdLst>
  <p:sldIdLst>
    <p:sldId id="308" r:id="rId2"/>
    <p:sldId id="339" r:id="rId3"/>
    <p:sldId id="338" r:id="rId4"/>
  </p:sldIdLst>
  <p:sldSz cx="9144000" cy="6858000" type="screen4x3"/>
  <p:notesSz cx="6794500" cy="9931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754">
          <p15:clr>
            <a:srgbClr val="A4A3A4"/>
          </p15:clr>
        </p15:guide>
        <p15:guide id="3" orient="horz" pos="164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385">
          <p15:clr>
            <a:srgbClr val="A4A3A4"/>
          </p15:clr>
        </p15:guide>
        <p15:guide id="6" pos="5556">
          <p15:clr>
            <a:srgbClr val="A4A3A4"/>
          </p15:clr>
        </p15:guide>
        <p15:guide id="7" pos="2880">
          <p15:clr>
            <a:srgbClr val="A4A3A4"/>
          </p15:clr>
        </p15:guide>
        <p15:guide id="8" pos="3061">
          <p15:clr>
            <a:srgbClr val="A4A3A4"/>
          </p15:clr>
        </p15:guide>
        <p15:guide id="9" pos="4195">
          <p15:clr>
            <a:srgbClr val="A4A3A4"/>
          </p15:clr>
        </p15:guide>
        <p15:guide id="10" pos="528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4"/>
    <p:restoredTop sz="94265"/>
  </p:normalViewPr>
  <p:slideViewPr>
    <p:cSldViewPr showGuides="1">
      <p:cViewPr varScale="1">
        <p:scale>
          <a:sx n="100" d="100"/>
          <a:sy n="100" d="100"/>
        </p:scale>
        <p:origin x="2520" y="168"/>
      </p:cViewPr>
      <p:guideLst>
        <p:guide orient="horz" pos="618"/>
        <p:guide orient="horz" pos="754"/>
        <p:guide orient="horz" pos="164"/>
        <p:guide orient="horz" pos="3838"/>
        <p:guide pos="385"/>
        <p:guide pos="5556"/>
        <p:guide pos="2880"/>
        <p:guide pos="3061"/>
        <p:guide pos="4195"/>
        <p:guide pos="52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2E09F0-6A31-4946-8DB4-2E1854D072B6}" type="datetimeFigureOut">
              <a:rPr lang="de-DE" smtClean="0"/>
              <a:pPr/>
              <a:t>15.04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490D73-D98C-4372-A890-A9C7EB82C3E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8862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490D73-D98C-4372-A890-A9C7EB82C3EC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258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Titel 1 Zei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6516216" y="-2886"/>
            <a:ext cx="2627784" cy="1343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6" name="Flussdiagramm: Manuelle Eingabe 3"/>
          <p:cNvSpPr/>
          <p:nvPr userDrawn="1"/>
        </p:nvSpPr>
        <p:spPr>
          <a:xfrm rot="16200000" flipV="1">
            <a:off x="1153179" y="-1168202"/>
            <a:ext cx="5951209" cy="828184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817 w 10000"/>
              <a:gd name="connsiteY0" fmla="*/ 20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817 w 10000"/>
              <a:gd name="connsiteY4" fmla="*/ 204 h 10000"/>
              <a:gd name="connsiteX0" fmla="*/ 49 w 10457"/>
              <a:gd name="connsiteY0" fmla="*/ 256 h 10000"/>
              <a:gd name="connsiteX1" fmla="*/ 10457 w 10457"/>
              <a:gd name="connsiteY1" fmla="*/ 0 h 10000"/>
              <a:gd name="connsiteX2" fmla="*/ 10457 w 10457"/>
              <a:gd name="connsiteY2" fmla="*/ 10000 h 10000"/>
              <a:gd name="connsiteX3" fmla="*/ 457 w 10457"/>
              <a:gd name="connsiteY3" fmla="*/ 10000 h 10000"/>
              <a:gd name="connsiteX4" fmla="*/ 49 w 10457"/>
              <a:gd name="connsiteY4" fmla="*/ 256 h 10000"/>
              <a:gd name="connsiteX0" fmla="*/ 20 w 12062"/>
              <a:gd name="connsiteY0" fmla="*/ 204 h 10000"/>
              <a:gd name="connsiteX1" fmla="*/ 12062 w 12062"/>
              <a:gd name="connsiteY1" fmla="*/ 0 h 10000"/>
              <a:gd name="connsiteX2" fmla="*/ 12062 w 12062"/>
              <a:gd name="connsiteY2" fmla="*/ 10000 h 10000"/>
              <a:gd name="connsiteX3" fmla="*/ 2062 w 12062"/>
              <a:gd name="connsiteY3" fmla="*/ 10000 h 10000"/>
              <a:gd name="connsiteX4" fmla="*/ 20 w 12062"/>
              <a:gd name="connsiteY4" fmla="*/ 204 h 10000"/>
              <a:gd name="connsiteX0" fmla="*/ 408 w 12450"/>
              <a:gd name="connsiteY0" fmla="*/ 204 h 10000"/>
              <a:gd name="connsiteX1" fmla="*/ 12450 w 12450"/>
              <a:gd name="connsiteY1" fmla="*/ 0 h 10000"/>
              <a:gd name="connsiteX2" fmla="*/ 12450 w 12450"/>
              <a:gd name="connsiteY2" fmla="*/ 10000 h 10000"/>
              <a:gd name="connsiteX3" fmla="*/ 0 w 12450"/>
              <a:gd name="connsiteY3" fmla="*/ 9983 h 10000"/>
              <a:gd name="connsiteX4" fmla="*/ 408 w 12450"/>
              <a:gd name="connsiteY4" fmla="*/ 204 h 10000"/>
              <a:gd name="connsiteX0" fmla="*/ 70 w 12600"/>
              <a:gd name="connsiteY0" fmla="*/ 245 h 10000"/>
              <a:gd name="connsiteX1" fmla="*/ 12600 w 12600"/>
              <a:gd name="connsiteY1" fmla="*/ 0 h 10000"/>
              <a:gd name="connsiteX2" fmla="*/ 12600 w 12600"/>
              <a:gd name="connsiteY2" fmla="*/ 10000 h 10000"/>
              <a:gd name="connsiteX3" fmla="*/ 150 w 12600"/>
              <a:gd name="connsiteY3" fmla="*/ 9983 h 10000"/>
              <a:gd name="connsiteX4" fmla="*/ 70 w 12600"/>
              <a:gd name="connsiteY4" fmla="*/ 245 h 10000"/>
              <a:gd name="connsiteX0" fmla="*/ 63 w 12593"/>
              <a:gd name="connsiteY0" fmla="*/ 245 h 10000"/>
              <a:gd name="connsiteX1" fmla="*/ 12593 w 12593"/>
              <a:gd name="connsiteY1" fmla="*/ 0 h 10000"/>
              <a:gd name="connsiteX2" fmla="*/ 12593 w 12593"/>
              <a:gd name="connsiteY2" fmla="*/ 10000 h 10000"/>
              <a:gd name="connsiteX3" fmla="*/ 234 w 12593"/>
              <a:gd name="connsiteY3" fmla="*/ 9995 h 10000"/>
              <a:gd name="connsiteX4" fmla="*/ 63 w 12593"/>
              <a:gd name="connsiteY4" fmla="*/ 245 h 10000"/>
              <a:gd name="connsiteX0" fmla="*/ 79 w 12609"/>
              <a:gd name="connsiteY0" fmla="*/ 245 h 10008"/>
              <a:gd name="connsiteX1" fmla="*/ 12609 w 12609"/>
              <a:gd name="connsiteY1" fmla="*/ 0 h 10008"/>
              <a:gd name="connsiteX2" fmla="*/ 12609 w 12609"/>
              <a:gd name="connsiteY2" fmla="*/ 10000 h 10008"/>
              <a:gd name="connsiteX3" fmla="*/ 73 w 12609"/>
              <a:gd name="connsiteY3" fmla="*/ 10008 h 10008"/>
              <a:gd name="connsiteX4" fmla="*/ 79 w 12609"/>
              <a:gd name="connsiteY4" fmla="*/ 245 h 10008"/>
              <a:gd name="connsiteX0" fmla="*/ 120 w 12650"/>
              <a:gd name="connsiteY0" fmla="*/ 245 h 10008"/>
              <a:gd name="connsiteX1" fmla="*/ 12650 w 12650"/>
              <a:gd name="connsiteY1" fmla="*/ 0 h 10008"/>
              <a:gd name="connsiteX2" fmla="*/ 12650 w 12650"/>
              <a:gd name="connsiteY2" fmla="*/ 10000 h 10008"/>
              <a:gd name="connsiteX3" fmla="*/ 114 w 12650"/>
              <a:gd name="connsiteY3" fmla="*/ 10008 h 10008"/>
              <a:gd name="connsiteX4" fmla="*/ 120 w 12650"/>
              <a:gd name="connsiteY4" fmla="*/ 245 h 10008"/>
              <a:gd name="connsiteX0" fmla="*/ 159 w 12578"/>
              <a:gd name="connsiteY0" fmla="*/ 1457 h 10008"/>
              <a:gd name="connsiteX1" fmla="*/ 12578 w 12578"/>
              <a:gd name="connsiteY1" fmla="*/ 0 h 10008"/>
              <a:gd name="connsiteX2" fmla="*/ 12578 w 12578"/>
              <a:gd name="connsiteY2" fmla="*/ 10000 h 10008"/>
              <a:gd name="connsiteX3" fmla="*/ 42 w 12578"/>
              <a:gd name="connsiteY3" fmla="*/ 10008 h 10008"/>
              <a:gd name="connsiteX4" fmla="*/ 159 w 12578"/>
              <a:gd name="connsiteY4" fmla="*/ 1457 h 10008"/>
              <a:gd name="connsiteX0" fmla="*/ 87 w 12794"/>
              <a:gd name="connsiteY0" fmla="*/ 2088 h 10008"/>
              <a:gd name="connsiteX1" fmla="*/ 12794 w 12794"/>
              <a:gd name="connsiteY1" fmla="*/ 0 h 10008"/>
              <a:gd name="connsiteX2" fmla="*/ 12794 w 12794"/>
              <a:gd name="connsiteY2" fmla="*/ 10000 h 10008"/>
              <a:gd name="connsiteX3" fmla="*/ 258 w 12794"/>
              <a:gd name="connsiteY3" fmla="*/ 10008 h 10008"/>
              <a:gd name="connsiteX4" fmla="*/ 87 w 12794"/>
              <a:gd name="connsiteY4" fmla="*/ 2088 h 10008"/>
              <a:gd name="connsiteX0" fmla="*/ 87 w 12794"/>
              <a:gd name="connsiteY0" fmla="*/ 2568 h 10008"/>
              <a:gd name="connsiteX1" fmla="*/ 12794 w 12794"/>
              <a:gd name="connsiteY1" fmla="*/ 0 h 10008"/>
              <a:gd name="connsiteX2" fmla="*/ 12794 w 12794"/>
              <a:gd name="connsiteY2" fmla="*/ 10000 h 10008"/>
              <a:gd name="connsiteX3" fmla="*/ 258 w 12794"/>
              <a:gd name="connsiteY3" fmla="*/ 10008 h 10008"/>
              <a:gd name="connsiteX4" fmla="*/ 87 w 12794"/>
              <a:gd name="connsiteY4" fmla="*/ 2568 h 10008"/>
              <a:gd name="connsiteX0" fmla="*/ 0 w 12707"/>
              <a:gd name="connsiteY0" fmla="*/ 2568 h 10008"/>
              <a:gd name="connsiteX1" fmla="*/ 12707 w 12707"/>
              <a:gd name="connsiteY1" fmla="*/ 0 h 10008"/>
              <a:gd name="connsiteX2" fmla="*/ 12707 w 12707"/>
              <a:gd name="connsiteY2" fmla="*/ 10000 h 10008"/>
              <a:gd name="connsiteX3" fmla="*/ 171 w 12707"/>
              <a:gd name="connsiteY3" fmla="*/ 10008 h 10008"/>
              <a:gd name="connsiteX4" fmla="*/ 0 w 12707"/>
              <a:gd name="connsiteY4" fmla="*/ 2568 h 10008"/>
              <a:gd name="connsiteX0" fmla="*/ 0 w 12619"/>
              <a:gd name="connsiteY0" fmla="*/ 2972 h 10008"/>
              <a:gd name="connsiteX1" fmla="*/ 12619 w 12619"/>
              <a:gd name="connsiteY1" fmla="*/ 0 h 10008"/>
              <a:gd name="connsiteX2" fmla="*/ 12619 w 12619"/>
              <a:gd name="connsiteY2" fmla="*/ 10000 h 10008"/>
              <a:gd name="connsiteX3" fmla="*/ 83 w 12619"/>
              <a:gd name="connsiteY3" fmla="*/ 10008 h 10008"/>
              <a:gd name="connsiteX4" fmla="*/ 0 w 12619"/>
              <a:gd name="connsiteY4" fmla="*/ 2972 h 10008"/>
              <a:gd name="connsiteX0" fmla="*/ 0 w 12575"/>
              <a:gd name="connsiteY0" fmla="*/ 3111 h 10008"/>
              <a:gd name="connsiteX1" fmla="*/ 12575 w 12575"/>
              <a:gd name="connsiteY1" fmla="*/ 0 h 10008"/>
              <a:gd name="connsiteX2" fmla="*/ 12575 w 12575"/>
              <a:gd name="connsiteY2" fmla="*/ 10000 h 10008"/>
              <a:gd name="connsiteX3" fmla="*/ 39 w 12575"/>
              <a:gd name="connsiteY3" fmla="*/ 10008 h 10008"/>
              <a:gd name="connsiteX4" fmla="*/ 0 w 12575"/>
              <a:gd name="connsiteY4" fmla="*/ 3111 h 10008"/>
              <a:gd name="connsiteX0" fmla="*/ 0 w 12575"/>
              <a:gd name="connsiteY0" fmla="*/ 3111 h 10008"/>
              <a:gd name="connsiteX1" fmla="*/ 12575 w 12575"/>
              <a:gd name="connsiteY1" fmla="*/ 0 h 10008"/>
              <a:gd name="connsiteX2" fmla="*/ 12575 w 12575"/>
              <a:gd name="connsiteY2" fmla="*/ 10000 h 10008"/>
              <a:gd name="connsiteX3" fmla="*/ 39 w 12575"/>
              <a:gd name="connsiteY3" fmla="*/ 10008 h 10008"/>
              <a:gd name="connsiteX4" fmla="*/ 0 w 12575"/>
              <a:gd name="connsiteY4" fmla="*/ 3111 h 10008"/>
              <a:gd name="connsiteX0" fmla="*/ 0 w 12575"/>
              <a:gd name="connsiteY0" fmla="*/ 3111 h 10000"/>
              <a:gd name="connsiteX1" fmla="*/ 12575 w 12575"/>
              <a:gd name="connsiteY1" fmla="*/ 0 h 10000"/>
              <a:gd name="connsiteX2" fmla="*/ 12575 w 12575"/>
              <a:gd name="connsiteY2" fmla="*/ 10000 h 10000"/>
              <a:gd name="connsiteX3" fmla="*/ 22 w 12575"/>
              <a:gd name="connsiteY3" fmla="*/ 9969 h 10000"/>
              <a:gd name="connsiteX4" fmla="*/ 0 w 12575"/>
              <a:gd name="connsiteY4" fmla="*/ 3111 h 10000"/>
              <a:gd name="connsiteX0" fmla="*/ 0 w 12575"/>
              <a:gd name="connsiteY0" fmla="*/ 3111 h 9969"/>
              <a:gd name="connsiteX1" fmla="*/ 12575 w 12575"/>
              <a:gd name="connsiteY1" fmla="*/ 0 h 9969"/>
              <a:gd name="connsiteX2" fmla="*/ 12371 w 12575"/>
              <a:gd name="connsiteY2" fmla="*/ 9942 h 9969"/>
              <a:gd name="connsiteX3" fmla="*/ 22 w 12575"/>
              <a:gd name="connsiteY3" fmla="*/ 9969 h 9969"/>
              <a:gd name="connsiteX4" fmla="*/ 0 w 12575"/>
              <a:gd name="connsiteY4" fmla="*/ 3111 h 9969"/>
              <a:gd name="connsiteX0" fmla="*/ 0 w 10000"/>
              <a:gd name="connsiteY0" fmla="*/ 3121 h 10000"/>
              <a:gd name="connsiteX1" fmla="*/ 10000 w 10000"/>
              <a:gd name="connsiteY1" fmla="*/ 0 h 10000"/>
              <a:gd name="connsiteX2" fmla="*/ 9946 w 10000"/>
              <a:gd name="connsiteY2" fmla="*/ 9993 h 10000"/>
              <a:gd name="connsiteX3" fmla="*/ 17 w 10000"/>
              <a:gd name="connsiteY3" fmla="*/ 10000 h 10000"/>
              <a:gd name="connsiteX4" fmla="*/ 0 w 10000"/>
              <a:gd name="connsiteY4" fmla="*/ 3121 h 10000"/>
              <a:gd name="connsiteX0" fmla="*/ 0 w 9959"/>
              <a:gd name="connsiteY0" fmla="*/ 3101 h 9980"/>
              <a:gd name="connsiteX1" fmla="*/ 9959 w 9959"/>
              <a:gd name="connsiteY1" fmla="*/ 0 h 9980"/>
              <a:gd name="connsiteX2" fmla="*/ 9946 w 9959"/>
              <a:gd name="connsiteY2" fmla="*/ 9973 h 9980"/>
              <a:gd name="connsiteX3" fmla="*/ 17 w 9959"/>
              <a:gd name="connsiteY3" fmla="*/ 9980 h 9980"/>
              <a:gd name="connsiteX4" fmla="*/ 0 w 9959"/>
              <a:gd name="connsiteY4" fmla="*/ 3101 h 9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59" h="9980">
                <a:moveTo>
                  <a:pt x="0" y="3101"/>
                </a:moveTo>
                <a:lnTo>
                  <a:pt x="9959" y="0"/>
                </a:lnTo>
                <a:cubicBezTo>
                  <a:pt x="9955" y="3324"/>
                  <a:pt x="9950" y="6649"/>
                  <a:pt x="9946" y="9973"/>
                </a:cubicBezTo>
                <a:lnTo>
                  <a:pt x="17" y="9980"/>
                </a:lnTo>
                <a:cubicBezTo>
                  <a:pt x="23" y="6705"/>
                  <a:pt x="31" y="9291"/>
                  <a:pt x="0" y="310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2703" y="908720"/>
            <a:ext cx="7710559" cy="585208"/>
          </a:xfrm>
        </p:spPr>
        <p:txBody>
          <a:bodyPr lIns="0" rIns="0" anchor="t" anchorCtr="0"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hinzufügen (eine Zeile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11560" y="1503072"/>
            <a:ext cx="7711703" cy="989824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Optional: Untertit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1560" y="4653136"/>
            <a:ext cx="3240087" cy="720148"/>
          </a:xfrm>
        </p:spPr>
        <p:txBody>
          <a:bodyPr lIns="0" rIns="0">
            <a:normAutofit/>
          </a:bodyPr>
          <a:lstStyle>
            <a:lvl1pPr>
              <a:lnSpc>
                <a:spcPct val="15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orname Name</a:t>
            </a:r>
            <a:br>
              <a:rPr lang="de-DE" dirty="0"/>
            </a:br>
            <a:r>
              <a:rPr lang="de-DE" dirty="0"/>
              <a:t>Ort, TT.MM.201X</a:t>
            </a:r>
          </a:p>
        </p:txBody>
      </p:sp>
      <p:pic>
        <p:nvPicPr>
          <p:cNvPr id="8" name="Picture 2" descr="\\DROBO-FS\LP_Storage\002_Aktuelle Projekte\europex\logo-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5229200"/>
            <a:ext cx="1800200" cy="108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8"/>
          <p:cNvSpPr/>
          <p:nvPr userDrawn="1"/>
        </p:nvSpPr>
        <p:spPr>
          <a:xfrm>
            <a:off x="2339058" y="6237312"/>
            <a:ext cx="6804942" cy="62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497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260349"/>
            <a:ext cx="8208962" cy="720725"/>
          </a:xfrm>
        </p:spPr>
        <p:txBody>
          <a:bodyPr lIns="0" rIns="0"/>
          <a:lstStyle>
            <a:lvl1pPr>
              <a:defRPr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8" y="1196975"/>
            <a:ext cx="8208961" cy="4895850"/>
          </a:xfrm>
        </p:spPr>
        <p:txBody>
          <a:bodyPr lIns="0" rIns="0">
            <a:noAutofit/>
          </a:bodyPr>
          <a:lstStyle>
            <a:lvl2pPr marL="0" marR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Pct val="90000"/>
              <a:buFont typeface="Wingdings" panose="05000000000000000000" pitchFamily="2" charset="2"/>
              <a:buNone/>
              <a:tabLst/>
              <a:defRPr sz="1400"/>
            </a:lvl2pPr>
            <a:lvl3pPr marL="180975" marR="0" indent="-180975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anose="05000000000000000000" pitchFamily="2" charset="2"/>
              <a:buChar char=""/>
              <a:tabLst/>
              <a:defRPr sz="1400"/>
            </a:lvl3pPr>
            <a:lvl4pPr marL="357188" marR="0" indent="-18415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anose="05000000000000000000" pitchFamily="2" charset="2"/>
              <a:buChar char=""/>
              <a:tabLst/>
              <a:defRPr/>
            </a:lvl4pPr>
            <a:lvl5pPr marL="322263" indent="-138113">
              <a:buClr>
                <a:srgbClr val="FF6600"/>
              </a:buClr>
              <a:defRPr/>
            </a:lvl5pPr>
            <a:lvl6pPr marL="592138" marR="0" indent="-2317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anose="05000000000000000000" pitchFamily="2" charset="2"/>
              <a:buChar char=""/>
              <a:tabLst/>
              <a:defRPr lang="de-DE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6659563" y="6453335"/>
            <a:ext cx="1716902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endParaRPr lang="de-DE" dirty="0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76464" y="6453336"/>
            <a:ext cx="432048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2409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260349"/>
            <a:ext cx="8208962" cy="720725"/>
          </a:xfrm>
        </p:spPr>
        <p:txBody>
          <a:bodyPr lIns="0" rIns="0" anchor="t" anchorCtr="0"/>
          <a:lstStyle>
            <a:lvl1pPr>
              <a:defRPr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8" y="1196975"/>
            <a:ext cx="8208961" cy="4895850"/>
          </a:xfrm>
        </p:spPr>
        <p:txBody>
          <a:bodyPr lIns="0" rIns="0">
            <a:noAutofit/>
          </a:bodyPr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 marL="322263" indent="-138113">
              <a:buClr>
                <a:schemeClr val="tx2"/>
              </a:buClr>
              <a:defRPr/>
            </a:lvl4pPr>
            <a:lvl5pPr marL="322263" indent="-138113">
              <a:buClr>
                <a:srgbClr val="FF6600"/>
              </a:buClr>
              <a:defRPr/>
            </a:lvl5pPr>
            <a:lvl6pPr marL="534988" indent="-228600">
              <a:buClr>
                <a:schemeClr val="tx2"/>
              </a:buClr>
              <a:defRPr lang="de-DE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6659563" y="6453335"/>
            <a:ext cx="1716082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75644" y="6453336"/>
            <a:ext cx="432048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z="7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p. </a:t>
            </a:r>
            <a:fld id="{15F8C0C5-83F4-4F45-A23C-C8AFFA3B34F1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1188" y="620713"/>
            <a:ext cx="8208962" cy="360362"/>
          </a:xfrm>
        </p:spPr>
        <p:txBody>
          <a:bodyPr lIns="0" rIns="0"/>
          <a:lstStyle>
            <a:lvl1pPr>
              <a:defRPr b="0"/>
            </a:lvl1pPr>
          </a:lstStyle>
          <a:p>
            <a:pPr lvl="0"/>
            <a:r>
              <a:rPr lang="de-DE" dirty="0"/>
              <a:t>Subheadline hinzufügen</a:t>
            </a:r>
          </a:p>
        </p:txBody>
      </p:sp>
    </p:spTree>
    <p:extLst>
      <p:ext uri="{BB962C8B-B14F-4D97-AF65-F5344CB8AC3E}">
        <p14:creationId xmlns:p14="http://schemas.microsoft.com/office/powerpoint/2010/main" val="6452185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260349"/>
            <a:ext cx="8208962" cy="720725"/>
          </a:xfrm>
        </p:spPr>
        <p:txBody>
          <a:bodyPr lIns="0" rIns="0"/>
          <a:lstStyle>
            <a:lvl1pPr>
              <a:defRPr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196975"/>
            <a:ext cx="3959999" cy="4895850"/>
          </a:xfrm>
        </p:spPr>
        <p:txBody>
          <a:bodyPr lIns="0" rIns="0">
            <a:noAutofit/>
          </a:bodyPr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 marL="357188" indent="-184150">
              <a:buClr>
                <a:schemeClr val="tx2"/>
              </a:buClr>
              <a:defRPr/>
            </a:lvl4pPr>
            <a:lvl5pPr marL="322263" indent="-138113">
              <a:buClr>
                <a:srgbClr val="FF6600"/>
              </a:buClr>
              <a:defRPr/>
            </a:lvl5pPr>
            <a:lvl6pPr marL="534988" indent="-176213">
              <a:buClr>
                <a:schemeClr val="tx2"/>
              </a:buClr>
              <a:defRPr lang="de-DE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6659564" y="6453336"/>
            <a:ext cx="1715262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mtClean="0"/>
            </a:lvl1pPr>
          </a:lstStyle>
          <a:p>
            <a:endParaRPr lang="de-DE" dirty="0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6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74824" y="6453337"/>
            <a:ext cx="432048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4860150" y="1196975"/>
            <a:ext cx="3960000" cy="4895850"/>
          </a:xfrm>
        </p:spPr>
        <p:txBody>
          <a:bodyPr lIns="0" rIns="0">
            <a:noAutofit/>
          </a:bodyPr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01432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3 Spalten mit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260349"/>
            <a:ext cx="8208962" cy="720725"/>
          </a:xfrm>
        </p:spPr>
        <p:txBody>
          <a:bodyPr lIns="0" rIns="0"/>
          <a:lstStyle>
            <a:lvl1pPr>
              <a:defRPr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196975"/>
            <a:ext cx="2520000" cy="4895850"/>
          </a:xfrm>
        </p:spPr>
        <p:txBody>
          <a:bodyPr lIns="0" rIns="0"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buClr>
                <a:schemeClr val="tx2"/>
              </a:buClr>
              <a:defRPr/>
            </a:lvl3pPr>
            <a:lvl4pPr marL="357188" indent="-184150" algn="ctr">
              <a:buClr>
                <a:schemeClr val="tx2"/>
              </a:buClr>
              <a:defRPr/>
            </a:lvl4pPr>
            <a:lvl5pPr marL="322263" indent="-138113">
              <a:buClr>
                <a:srgbClr val="FF6600"/>
              </a:buClr>
              <a:defRPr/>
            </a:lvl5pPr>
            <a:lvl6pPr marL="534988" indent="-176213" algn="ctr">
              <a:defRPr lang="de-DE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6651471" y="6453335"/>
            <a:ext cx="1721713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mtClean="0"/>
            </a:lvl1pPr>
          </a:lstStyle>
          <a:p>
            <a:endParaRPr lang="de-DE" dirty="0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72241" y="6453336"/>
            <a:ext cx="431725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6277240" y="1196975"/>
            <a:ext cx="2520000" cy="4895850"/>
          </a:xfrm>
        </p:spPr>
        <p:txBody>
          <a:bodyPr lIns="0" rIns="0"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buClr>
                <a:schemeClr val="tx2"/>
              </a:buClr>
              <a:defRPr/>
            </a:lvl3pPr>
            <a:lvl4pPr algn="ctr">
              <a:buClr>
                <a:schemeClr val="tx2"/>
              </a:buClr>
              <a:defRPr/>
            </a:lvl4pPr>
            <a:lvl5pPr algn="ctr">
              <a:buClr>
                <a:schemeClr val="tx2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3444214" y="1196975"/>
            <a:ext cx="2520000" cy="4895850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3275856" y="1196975"/>
            <a:ext cx="0" cy="489585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6121886" y="1196975"/>
            <a:ext cx="0" cy="489585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4822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4 Spalten mit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260349"/>
            <a:ext cx="8208962" cy="720725"/>
          </a:xfrm>
        </p:spPr>
        <p:txBody>
          <a:bodyPr lIns="0" rIns="0"/>
          <a:lstStyle>
            <a:lvl1pPr>
              <a:defRPr/>
            </a:lvl1pPr>
          </a:lstStyle>
          <a:p>
            <a:r>
              <a:rPr lang="de-DE" dirty="0"/>
              <a:t>Titel hinzufü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196975"/>
            <a:ext cx="1800000" cy="4895850"/>
          </a:xfrm>
        </p:spPr>
        <p:txBody>
          <a:bodyPr lIns="0" rIns="0"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buClr>
                <a:schemeClr val="tx2"/>
              </a:buClr>
              <a:defRPr/>
            </a:lvl3pPr>
            <a:lvl4pPr marL="357188" indent="-184150" algn="ctr">
              <a:buClr>
                <a:schemeClr val="tx2"/>
              </a:buClr>
              <a:defRPr/>
            </a:lvl4pPr>
            <a:lvl5pPr marL="322263" indent="-138113">
              <a:buClr>
                <a:srgbClr val="FF6600"/>
              </a:buClr>
              <a:defRPr/>
            </a:lvl5pPr>
            <a:lvl6pPr marL="534988" indent="-176213" algn="ctr">
              <a:buClr>
                <a:schemeClr val="tx2"/>
              </a:buClr>
              <a:defRPr lang="de-DE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6659563" y="6453335"/>
            <a:ext cx="1716082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mtClean="0"/>
            </a:lvl1pPr>
          </a:lstStyle>
          <a:p>
            <a:endParaRPr lang="de-DE" dirty="0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75644" y="6453336"/>
            <a:ext cx="432048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4863985" y="1196975"/>
            <a:ext cx="1800000" cy="4895850"/>
          </a:xfrm>
        </p:spPr>
        <p:txBody>
          <a:bodyPr lIns="0" rIns="0"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buClr>
                <a:schemeClr val="tx2"/>
              </a:buClr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2737587" y="1196975"/>
            <a:ext cx="1800000" cy="4895850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2567206" y="1196975"/>
            <a:ext cx="0" cy="489585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4704586" y="1196975"/>
            <a:ext cx="0" cy="489585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Inhaltsplatzhalter 4"/>
          <p:cNvSpPr>
            <a:spLocks noGrp="1"/>
          </p:cNvSpPr>
          <p:nvPr>
            <p:ph sz="quarter" idx="12"/>
          </p:nvPr>
        </p:nvSpPr>
        <p:spPr>
          <a:xfrm>
            <a:off x="6990384" y="1196975"/>
            <a:ext cx="1800000" cy="4895850"/>
          </a:xfrm>
        </p:spPr>
        <p:txBody>
          <a:bodyPr lIns="0" rIns="0"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buClr>
                <a:schemeClr val="tx2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6838538" y="1196752"/>
            <a:ext cx="0" cy="489585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2091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 Zei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8" y="260349"/>
            <a:ext cx="8208962" cy="720725"/>
          </a:xfrm>
        </p:spPr>
        <p:txBody>
          <a:bodyPr lIns="0" rIns="0"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196975"/>
            <a:ext cx="8208961" cy="2088009"/>
          </a:xfrm>
        </p:spPr>
        <p:txBody>
          <a:bodyPr lIns="0" rIns="0">
            <a:noAutofit/>
          </a:bodyPr>
          <a:lstStyle>
            <a:lvl3pPr>
              <a:buClr>
                <a:schemeClr val="tx2"/>
              </a:buClr>
              <a:defRPr/>
            </a:lvl3pPr>
            <a:lvl4pPr marL="322263" indent="-138113">
              <a:buClr>
                <a:schemeClr val="tx2"/>
              </a:buClr>
              <a:defRPr/>
            </a:lvl4pPr>
            <a:lvl5pPr marL="322263" indent="-138113">
              <a:buClr>
                <a:srgbClr val="FF6600"/>
              </a:buClr>
              <a:defRPr/>
            </a:lvl5pPr>
            <a:lvl6pPr marL="534988" indent="-228600">
              <a:buClr>
                <a:schemeClr val="tx2"/>
              </a:buClr>
              <a:defRPr lang="de-DE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2"/>
          </p:nvPr>
        </p:nvSpPr>
        <p:spPr>
          <a:xfrm>
            <a:off x="6659563" y="6453335"/>
            <a:ext cx="1717722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mtClean="0"/>
            </a:lvl1pPr>
          </a:lstStyle>
          <a:p>
            <a:endParaRPr lang="de-DE" dirty="0"/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77284" y="6453336"/>
            <a:ext cx="432048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/>
          </p:nvPr>
        </p:nvSpPr>
        <p:spPr>
          <a:xfrm>
            <a:off x="611188" y="3645023"/>
            <a:ext cx="8208962" cy="2447801"/>
          </a:xfrm>
        </p:spPr>
        <p:txBody>
          <a:bodyPr lIns="0" rIns="0">
            <a:noAutofit/>
          </a:bodyPr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201068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260350"/>
            <a:ext cx="8208962" cy="720725"/>
          </a:xfrm>
        </p:spPr>
        <p:txBody>
          <a:bodyPr lIns="0" rIns="0">
            <a:normAutofit/>
          </a:bodyPr>
          <a:lstStyle>
            <a:lvl1pPr>
              <a:defRPr sz="2400" baseline="0"/>
            </a:lvl1pPr>
          </a:lstStyle>
          <a:p>
            <a:r>
              <a:rPr lang="de-DE" dirty="0"/>
              <a:t>Inhaltsverzeichnis</a:t>
            </a:r>
          </a:p>
        </p:txBody>
      </p:sp>
      <p:sp>
        <p:nvSpPr>
          <p:cNvPr id="6" name="Textplatzhalter 2"/>
          <p:cNvSpPr>
            <a:spLocks noGrp="1"/>
          </p:cNvSpPr>
          <p:nvPr>
            <p:ph idx="1" hasCustomPrompt="1"/>
          </p:nvPr>
        </p:nvSpPr>
        <p:spPr>
          <a:xfrm>
            <a:off x="611188" y="1196975"/>
            <a:ext cx="8208962" cy="489585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>
              <a:lnSpc>
                <a:spcPts val="1800"/>
              </a:lnSpc>
              <a:spcAft>
                <a:spcPts val="0"/>
              </a:spcAft>
              <a:buFont typeface="+mj-lt"/>
              <a:buNone/>
              <a:tabLst>
                <a:tab pos="539750" algn="l"/>
                <a:tab pos="3859213" algn="l"/>
              </a:tabLst>
              <a:defRPr sz="1600"/>
            </a:lvl1pPr>
            <a:lvl2pPr marL="0" indent="0">
              <a:lnSpc>
                <a:spcPts val="1800"/>
              </a:lnSpc>
              <a:spcAft>
                <a:spcPts val="0"/>
              </a:spcAft>
              <a:buClrTx/>
              <a:buFont typeface="+mj-lt"/>
              <a:buNone/>
              <a:tabLst>
                <a:tab pos="539750" algn="l"/>
                <a:tab pos="3859213" algn="l"/>
              </a:tabLst>
              <a:defRPr sz="1400"/>
            </a:lvl2pPr>
            <a:lvl3pPr marL="0" indent="0">
              <a:lnSpc>
                <a:spcPts val="1800"/>
              </a:lnSpc>
              <a:spcAft>
                <a:spcPts val="0"/>
              </a:spcAft>
              <a:buClrTx/>
              <a:buFont typeface="+mj-lt"/>
              <a:buNone/>
              <a:tabLst>
                <a:tab pos="539750" algn="l"/>
                <a:tab pos="3859213" algn="l"/>
              </a:tabLst>
              <a:defRPr sz="1400"/>
            </a:lvl3pPr>
            <a:lvl4pPr marL="357187" indent="0">
              <a:spcAft>
                <a:spcPts val="0"/>
              </a:spcAft>
              <a:buNone/>
              <a:defRPr sz="1600"/>
            </a:lvl4pPr>
            <a:lvl5pPr marL="357187" indent="0">
              <a:spcAft>
                <a:spcPts val="0"/>
              </a:spcAft>
              <a:buNone/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6651470" y="6453335"/>
            <a:ext cx="1728787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mtClean="0"/>
            </a:lvl1pPr>
          </a:lstStyle>
          <a:p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80258" y="6453336"/>
            <a:ext cx="418522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7337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188" y="260350"/>
            <a:ext cx="8208962" cy="720725"/>
          </a:xfrm>
        </p:spPr>
        <p:txBody>
          <a:bodyPr lIns="0" rIns="0">
            <a:normAutofit/>
          </a:bodyPr>
          <a:lstStyle>
            <a:lvl1pPr>
              <a:defRPr sz="2400" baseline="0"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6651471" y="6453335"/>
            <a:ext cx="1728787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mtClean="0"/>
            </a:lvl1pPr>
          </a:lstStyle>
          <a:p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5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88350" y="6453336"/>
            <a:ext cx="416590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/>
        <p:txBody>
          <a:bodyPr>
            <a:noAutofit/>
          </a:bodyPr>
          <a:lstStyle>
            <a:lvl1pPr marL="342900" indent="-342900">
              <a:spcBef>
                <a:spcPts val="1800"/>
              </a:spcBef>
              <a:spcAft>
                <a:spcPts val="1800"/>
              </a:spcAft>
              <a:buClrTx/>
              <a:buFont typeface="+mj-lt"/>
              <a:buAutoNum type="arabicPeriod"/>
              <a:defRPr/>
            </a:lvl1pPr>
            <a:lvl2pPr marL="719138" indent="-358775">
              <a:spcAft>
                <a:spcPts val="1200"/>
              </a:spcAft>
              <a:buClrTx/>
              <a:buFont typeface="+mj-lt"/>
              <a:buAutoNum type="alphaLcParenR"/>
              <a:defRPr/>
            </a:lvl2pPr>
          </a:lstStyle>
          <a:p>
            <a:pPr lvl="0"/>
            <a:r>
              <a:rPr lang="de-DE" dirty="0"/>
              <a:t>Agenda Punkt 1</a:t>
            </a:r>
          </a:p>
          <a:p>
            <a:pPr lvl="0"/>
            <a:r>
              <a:rPr lang="de-DE" dirty="0"/>
              <a:t>Agenda Punkt 2</a:t>
            </a:r>
          </a:p>
          <a:p>
            <a:pPr lvl="1"/>
            <a:r>
              <a:rPr lang="de-DE" dirty="0"/>
              <a:t>Unterpunkt 1</a:t>
            </a:r>
          </a:p>
          <a:p>
            <a:pPr lvl="1"/>
            <a:r>
              <a:rPr lang="de-DE" dirty="0"/>
              <a:t>Unterpunkt 2</a:t>
            </a:r>
          </a:p>
          <a:p>
            <a:pPr lvl="0"/>
            <a:r>
              <a:rPr lang="de-DE" dirty="0"/>
              <a:t>…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7668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11188" y="260350"/>
            <a:ext cx="8208962" cy="720725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11188" y="1196975"/>
            <a:ext cx="8208961" cy="489585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0"/>
            <a:endParaRPr lang="de-DE" dirty="0"/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4"/>
            <a:endParaRPr lang="de-DE" dirty="0"/>
          </a:p>
          <a:p>
            <a:pPr lvl="2"/>
            <a:endParaRPr lang="de-DE" dirty="0"/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6659563" y="6453335"/>
            <a:ext cx="1714441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lang="de-DE" sz="700" smtClean="0"/>
            </a:lvl1pPr>
          </a:lstStyle>
          <a:p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275856" y="6453335"/>
            <a:ext cx="3383707" cy="21602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74003" y="6453336"/>
            <a:ext cx="432048" cy="21602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DE" sz="700" smtClean="0"/>
            </a:lvl1pPr>
          </a:lstStyle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‹#›</a:t>
            </a:fld>
            <a:endParaRPr lang="de-DE" dirty="0"/>
          </a:p>
        </p:txBody>
      </p:sp>
      <p:pic>
        <p:nvPicPr>
          <p:cNvPr id="10" name="Picture 2" descr="\\DROBO-FS\LP_Storage\002_Aktuelle Projekte\europex\logo-2.png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3198" y="45151"/>
            <a:ext cx="1439282" cy="863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lussdiagramm: Manuelle Eingabe 3"/>
          <p:cNvSpPr/>
          <p:nvPr userDrawn="1"/>
        </p:nvSpPr>
        <p:spPr>
          <a:xfrm rot="16200000" flipV="1">
            <a:off x="2952094" y="-2952226"/>
            <a:ext cx="168323" cy="6071367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817 w 10000"/>
              <a:gd name="connsiteY0" fmla="*/ 20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817 w 10000"/>
              <a:gd name="connsiteY4" fmla="*/ 204 h 10000"/>
              <a:gd name="connsiteX0" fmla="*/ 49 w 10457"/>
              <a:gd name="connsiteY0" fmla="*/ 256 h 10000"/>
              <a:gd name="connsiteX1" fmla="*/ 10457 w 10457"/>
              <a:gd name="connsiteY1" fmla="*/ 0 h 10000"/>
              <a:gd name="connsiteX2" fmla="*/ 10457 w 10457"/>
              <a:gd name="connsiteY2" fmla="*/ 10000 h 10000"/>
              <a:gd name="connsiteX3" fmla="*/ 457 w 10457"/>
              <a:gd name="connsiteY3" fmla="*/ 10000 h 10000"/>
              <a:gd name="connsiteX4" fmla="*/ 49 w 10457"/>
              <a:gd name="connsiteY4" fmla="*/ 256 h 10000"/>
              <a:gd name="connsiteX0" fmla="*/ 20 w 12062"/>
              <a:gd name="connsiteY0" fmla="*/ 204 h 10000"/>
              <a:gd name="connsiteX1" fmla="*/ 12062 w 12062"/>
              <a:gd name="connsiteY1" fmla="*/ 0 h 10000"/>
              <a:gd name="connsiteX2" fmla="*/ 12062 w 12062"/>
              <a:gd name="connsiteY2" fmla="*/ 10000 h 10000"/>
              <a:gd name="connsiteX3" fmla="*/ 2062 w 12062"/>
              <a:gd name="connsiteY3" fmla="*/ 10000 h 10000"/>
              <a:gd name="connsiteX4" fmla="*/ 20 w 12062"/>
              <a:gd name="connsiteY4" fmla="*/ 204 h 10000"/>
              <a:gd name="connsiteX0" fmla="*/ 408 w 12450"/>
              <a:gd name="connsiteY0" fmla="*/ 204 h 10000"/>
              <a:gd name="connsiteX1" fmla="*/ 12450 w 12450"/>
              <a:gd name="connsiteY1" fmla="*/ 0 h 10000"/>
              <a:gd name="connsiteX2" fmla="*/ 12450 w 12450"/>
              <a:gd name="connsiteY2" fmla="*/ 10000 h 10000"/>
              <a:gd name="connsiteX3" fmla="*/ 0 w 12450"/>
              <a:gd name="connsiteY3" fmla="*/ 9983 h 10000"/>
              <a:gd name="connsiteX4" fmla="*/ 408 w 12450"/>
              <a:gd name="connsiteY4" fmla="*/ 204 h 10000"/>
              <a:gd name="connsiteX0" fmla="*/ 70 w 12600"/>
              <a:gd name="connsiteY0" fmla="*/ 245 h 10000"/>
              <a:gd name="connsiteX1" fmla="*/ 12600 w 12600"/>
              <a:gd name="connsiteY1" fmla="*/ 0 h 10000"/>
              <a:gd name="connsiteX2" fmla="*/ 12600 w 12600"/>
              <a:gd name="connsiteY2" fmla="*/ 10000 h 10000"/>
              <a:gd name="connsiteX3" fmla="*/ 150 w 12600"/>
              <a:gd name="connsiteY3" fmla="*/ 9983 h 10000"/>
              <a:gd name="connsiteX4" fmla="*/ 70 w 12600"/>
              <a:gd name="connsiteY4" fmla="*/ 245 h 10000"/>
              <a:gd name="connsiteX0" fmla="*/ 63 w 12593"/>
              <a:gd name="connsiteY0" fmla="*/ 245 h 10000"/>
              <a:gd name="connsiteX1" fmla="*/ 12593 w 12593"/>
              <a:gd name="connsiteY1" fmla="*/ 0 h 10000"/>
              <a:gd name="connsiteX2" fmla="*/ 12593 w 12593"/>
              <a:gd name="connsiteY2" fmla="*/ 10000 h 10000"/>
              <a:gd name="connsiteX3" fmla="*/ 234 w 12593"/>
              <a:gd name="connsiteY3" fmla="*/ 9995 h 10000"/>
              <a:gd name="connsiteX4" fmla="*/ 63 w 12593"/>
              <a:gd name="connsiteY4" fmla="*/ 245 h 10000"/>
              <a:gd name="connsiteX0" fmla="*/ 63 w 12593"/>
              <a:gd name="connsiteY0" fmla="*/ 245 h 10000"/>
              <a:gd name="connsiteX1" fmla="*/ 12593 w 12593"/>
              <a:gd name="connsiteY1" fmla="*/ 0 h 10000"/>
              <a:gd name="connsiteX2" fmla="*/ 12593 w 12593"/>
              <a:gd name="connsiteY2" fmla="*/ 10000 h 10000"/>
              <a:gd name="connsiteX3" fmla="*/ 234 w 12593"/>
              <a:gd name="connsiteY3" fmla="*/ 9980 h 10000"/>
              <a:gd name="connsiteX4" fmla="*/ 63 w 12593"/>
              <a:gd name="connsiteY4" fmla="*/ 245 h 10000"/>
              <a:gd name="connsiteX0" fmla="*/ 63 w 12593"/>
              <a:gd name="connsiteY0" fmla="*/ 245 h 9980"/>
              <a:gd name="connsiteX1" fmla="*/ 12593 w 12593"/>
              <a:gd name="connsiteY1" fmla="*/ 0 h 9980"/>
              <a:gd name="connsiteX2" fmla="*/ 7837 w 12593"/>
              <a:gd name="connsiteY2" fmla="*/ 9950 h 9980"/>
              <a:gd name="connsiteX3" fmla="*/ 234 w 12593"/>
              <a:gd name="connsiteY3" fmla="*/ 9980 h 9980"/>
              <a:gd name="connsiteX4" fmla="*/ 63 w 12593"/>
              <a:gd name="connsiteY4" fmla="*/ 245 h 9980"/>
              <a:gd name="connsiteX0" fmla="*/ 50 w 10000"/>
              <a:gd name="connsiteY0" fmla="*/ 245 h 10000"/>
              <a:gd name="connsiteX1" fmla="*/ 10000 w 10000"/>
              <a:gd name="connsiteY1" fmla="*/ 0 h 10000"/>
              <a:gd name="connsiteX2" fmla="*/ 3826 w 10000"/>
              <a:gd name="connsiteY2" fmla="*/ 9986 h 10000"/>
              <a:gd name="connsiteX3" fmla="*/ 186 w 10000"/>
              <a:gd name="connsiteY3" fmla="*/ 10000 h 10000"/>
              <a:gd name="connsiteX4" fmla="*/ 50 w 10000"/>
              <a:gd name="connsiteY4" fmla="*/ 245 h 10000"/>
              <a:gd name="connsiteX0" fmla="*/ 50 w 10000"/>
              <a:gd name="connsiteY0" fmla="*/ 245 h 10000"/>
              <a:gd name="connsiteX1" fmla="*/ 10000 w 10000"/>
              <a:gd name="connsiteY1" fmla="*/ 0 h 10000"/>
              <a:gd name="connsiteX2" fmla="*/ 5133 w 10000"/>
              <a:gd name="connsiteY2" fmla="*/ 9998 h 10000"/>
              <a:gd name="connsiteX3" fmla="*/ 186 w 10000"/>
              <a:gd name="connsiteY3" fmla="*/ 10000 h 10000"/>
              <a:gd name="connsiteX4" fmla="*/ 50 w 10000"/>
              <a:gd name="connsiteY4" fmla="*/ 245 h 10000"/>
              <a:gd name="connsiteX0" fmla="*/ 50 w 10000"/>
              <a:gd name="connsiteY0" fmla="*/ 245 h 10002"/>
              <a:gd name="connsiteX1" fmla="*/ 10000 w 10000"/>
              <a:gd name="connsiteY1" fmla="*/ 0 h 10002"/>
              <a:gd name="connsiteX2" fmla="*/ 4915 w 10000"/>
              <a:gd name="connsiteY2" fmla="*/ 10002 h 10002"/>
              <a:gd name="connsiteX3" fmla="*/ 186 w 10000"/>
              <a:gd name="connsiteY3" fmla="*/ 10000 h 10002"/>
              <a:gd name="connsiteX4" fmla="*/ 50 w 10000"/>
              <a:gd name="connsiteY4" fmla="*/ 245 h 10002"/>
              <a:gd name="connsiteX0" fmla="*/ 50 w 10000"/>
              <a:gd name="connsiteY0" fmla="*/ 245 h 10002"/>
              <a:gd name="connsiteX1" fmla="*/ 10000 w 10000"/>
              <a:gd name="connsiteY1" fmla="*/ 0 h 10002"/>
              <a:gd name="connsiteX2" fmla="*/ 5060 w 10000"/>
              <a:gd name="connsiteY2" fmla="*/ 10002 h 10002"/>
              <a:gd name="connsiteX3" fmla="*/ 186 w 10000"/>
              <a:gd name="connsiteY3" fmla="*/ 10000 h 10002"/>
              <a:gd name="connsiteX4" fmla="*/ 50 w 10000"/>
              <a:gd name="connsiteY4" fmla="*/ 245 h 10002"/>
              <a:gd name="connsiteX0" fmla="*/ 50 w 5134"/>
              <a:gd name="connsiteY0" fmla="*/ 125 h 9882"/>
              <a:gd name="connsiteX1" fmla="*/ 5134 w 5134"/>
              <a:gd name="connsiteY1" fmla="*/ 0 h 9882"/>
              <a:gd name="connsiteX2" fmla="*/ 5060 w 5134"/>
              <a:gd name="connsiteY2" fmla="*/ 9882 h 9882"/>
              <a:gd name="connsiteX3" fmla="*/ 186 w 5134"/>
              <a:gd name="connsiteY3" fmla="*/ 9880 h 9882"/>
              <a:gd name="connsiteX4" fmla="*/ 50 w 5134"/>
              <a:gd name="connsiteY4" fmla="*/ 125 h 9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4" h="9882">
                <a:moveTo>
                  <a:pt x="50" y="125"/>
                </a:moveTo>
                <a:lnTo>
                  <a:pt x="5134" y="0"/>
                </a:lnTo>
                <a:cubicBezTo>
                  <a:pt x="5109" y="3294"/>
                  <a:pt x="5085" y="6588"/>
                  <a:pt x="5060" y="9882"/>
                </a:cubicBezTo>
                <a:lnTo>
                  <a:pt x="186" y="9880"/>
                </a:lnTo>
                <a:cubicBezTo>
                  <a:pt x="402" y="6608"/>
                  <a:pt x="-166" y="3397"/>
                  <a:pt x="50" y="1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11" name="Flussdiagramm: Manuelle Eingabe 3"/>
          <p:cNvSpPr/>
          <p:nvPr userDrawn="1"/>
        </p:nvSpPr>
        <p:spPr>
          <a:xfrm rot="5400000" flipV="1">
            <a:off x="6057948" y="3770489"/>
            <a:ext cx="169058" cy="600697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817 w 10000"/>
              <a:gd name="connsiteY0" fmla="*/ 20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817 w 10000"/>
              <a:gd name="connsiteY4" fmla="*/ 204 h 10000"/>
              <a:gd name="connsiteX0" fmla="*/ 49 w 10457"/>
              <a:gd name="connsiteY0" fmla="*/ 256 h 10000"/>
              <a:gd name="connsiteX1" fmla="*/ 10457 w 10457"/>
              <a:gd name="connsiteY1" fmla="*/ 0 h 10000"/>
              <a:gd name="connsiteX2" fmla="*/ 10457 w 10457"/>
              <a:gd name="connsiteY2" fmla="*/ 10000 h 10000"/>
              <a:gd name="connsiteX3" fmla="*/ 457 w 10457"/>
              <a:gd name="connsiteY3" fmla="*/ 10000 h 10000"/>
              <a:gd name="connsiteX4" fmla="*/ 49 w 10457"/>
              <a:gd name="connsiteY4" fmla="*/ 256 h 10000"/>
              <a:gd name="connsiteX0" fmla="*/ 20 w 12062"/>
              <a:gd name="connsiteY0" fmla="*/ 204 h 10000"/>
              <a:gd name="connsiteX1" fmla="*/ 12062 w 12062"/>
              <a:gd name="connsiteY1" fmla="*/ 0 h 10000"/>
              <a:gd name="connsiteX2" fmla="*/ 12062 w 12062"/>
              <a:gd name="connsiteY2" fmla="*/ 10000 h 10000"/>
              <a:gd name="connsiteX3" fmla="*/ 2062 w 12062"/>
              <a:gd name="connsiteY3" fmla="*/ 10000 h 10000"/>
              <a:gd name="connsiteX4" fmla="*/ 20 w 12062"/>
              <a:gd name="connsiteY4" fmla="*/ 204 h 10000"/>
              <a:gd name="connsiteX0" fmla="*/ 408 w 12450"/>
              <a:gd name="connsiteY0" fmla="*/ 204 h 10000"/>
              <a:gd name="connsiteX1" fmla="*/ 12450 w 12450"/>
              <a:gd name="connsiteY1" fmla="*/ 0 h 10000"/>
              <a:gd name="connsiteX2" fmla="*/ 12450 w 12450"/>
              <a:gd name="connsiteY2" fmla="*/ 10000 h 10000"/>
              <a:gd name="connsiteX3" fmla="*/ 0 w 12450"/>
              <a:gd name="connsiteY3" fmla="*/ 9983 h 10000"/>
              <a:gd name="connsiteX4" fmla="*/ 408 w 12450"/>
              <a:gd name="connsiteY4" fmla="*/ 204 h 10000"/>
              <a:gd name="connsiteX0" fmla="*/ 70 w 12600"/>
              <a:gd name="connsiteY0" fmla="*/ 245 h 10000"/>
              <a:gd name="connsiteX1" fmla="*/ 12600 w 12600"/>
              <a:gd name="connsiteY1" fmla="*/ 0 h 10000"/>
              <a:gd name="connsiteX2" fmla="*/ 12600 w 12600"/>
              <a:gd name="connsiteY2" fmla="*/ 10000 h 10000"/>
              <a:gd name="connsiteX3" fmla="*/ 150 w 12600"/>
              <a:gd name="connsiteY3" fmla="*/ 9983 h 10000"/>
              <a:gd name="connsiteX4" fmla="*/ 70 w 12600"/>
              <a:gd name="connsiteY4" fmla="*/ 245 h 10000"/>
              <a:gd name="connsiteX0" fmla="*/ 70 w 12600"/>
              <a:gd name="connsiteY0" fmla="*/ 129 h 9884"/>
              <a:gd name="connsiteX1" fmla="*/ 6564 w 12600"/>
              <a:gd name="connsiteY1" fmla="*/ 0 h 9884"/>
              <a:gd name="connsiteX2" fmla="*/ 12600 w 12600"/>
              <a:gd name="connsiteY2" fmla="*/ 9884 h 9884"/>
              <a:gd name="connsiteX3" fmla="*/ 150 w 12600"/>
              <a:gd name="connsiteY3" fmla="*/ 9867 h 9884"/>
              <a:gd name="connsiteX4" fmla="*/ 70 w 12600"/>
              <a:gd name="connsiteY4" fmla="*/ 129 h 9884"/>
              <a:gd name="connsiteX0" fmla="*/ 56 w 6225"/>
              <a:gd name="connsiteY0" fmla="*/ 131 h 9983"/>
              <a:gd name="connsiteX1" fmla="*/ 5210 w 6225"/>
              <a:gd name="connsiteY1" fmla="*/ 0 h 9983"/>
              <a:gd name="connsiteX2" fmla="*/ 6225 w 6225"/>
              <a:gd name="connsiteY2" fmla="*/ 9836 h 9983"/>
              <a:gd name="connsiteX3" fmla="*/ 119 w 6225"/>
              <a:gd name="connsiteY3" fmla="*/ 9983 h 9983"/>
              <a:gd name="connsiteX4" fmla="*/ 56 w 6225"/>
              <a:gd name="connsiteY4" fmla="*/ 131 h 9983"/>
              <a:gd name="connsiteX0" fmla="*/ 90 w 10000"/>
              <a:gd name="connsiteY0" fmla="*/ 131 h 9886"/>
              <a:gd name="connsiteX1" fmla="*/ 8369 w 10000"/>
              <a:gd name="connsiteY1" fmla="*/ 0 h 9886"/>
              <a:gd name="connsiteX2" fmla="*/ 10000 w 10000"/>
              <a:gd name="connsiteY2" fmla="*/ 9853 h 9886"/>
              <a:gd name="connsiteX3" fmla="*/ 191 w 10000"/>
              <a:gd name="connsiteY3" fmla="*/ 9886 h 9886"/>
              <a:gd name="connsiteX4" fmla="*/ 90 w 10000"/>
              <a:gd name="connsiteY4" fmla="*/ 131 h 9886"/>
              <a:gd name="connsiteX0" fmla="*/ 132 w 10042"/>
              <a:gd name="connsiteY0" fmla="*/ 133 h 10000"/>
              <a:gd name="connsiteX1" fmla="*/ 8411 w 10042"/>
              <a:gd name="connsiteY1" fmla="*/ 0 h 10000"/>
              <a:gd name="connsiteX2" fmla="*/ 10042 w 10042"/>
              <a:gd name="connsiteY2" fmla="*/ 9967 h 10000"/>
              <a:gd name="connsiteX3" fmla="*/ 233 w 10042"/>
              <a:gd name="connsiteY3" fmla="*/ 10000 h 10000"/>
              <a:gd name="connsiteX4" fmla="*/ 132 w 10042"/>
              <a:gd name="connsiteY4" fmla="*/ 133 h 10000"/>
              <a:gd name="connsiteX0" fmla="*/ 0 w 9910"/>
              <a:gd name="connsiteY0" fmla="*/ 133 h 10000"/>
              <a:gd name="connsiteX1" fmla="*/ 8279 w 9910"/>
              <a:gd name="connsiteY1" fmla="*/ 0 h 10000"/>
              <a:gd name="connsiteX2" fmla="*/ 9910 w 9910"/>
              <a:gd name="connsiteY2" fmla="*/ 9967 h 10000"/>
              <a:gd name="connsiteX3" fmla="*/ 101 w 9910"/>
              <a:gd name="connsiteY3" fmla="*/ 10000 h 10000"/>
              <a:gd name="connsiteX4" fmla="*/ 0 w 9910"/>
              <a:gd name="connsiteY4" fmla="*/ 133 h 10000"/>
              <a:gd name="connsiteX0" fmla="*/ 0 w 8354"/>
              <a:gd name="connsiteY0" fmla="*/ 133 h 10003"/>
              <a:gd name="connsiteX1" fmla="*/ 8354 w 8354"/>
              <a:gd name="connsiteY1" fmla="*/ 0 h 10003"/>
              <a:gd name="connsiteX2" fmla="*/ 8235 w 8354"/>
              <a:gd name="connsiteY2" fmla="*/ 10003 h 10003"/>
              <a:gd name="connsiteX3" fmla="*/ 102 w 8354"/>
              <a:gd name="connsiteY3" fmla="*/ 10000 h 10003"/>
              <a:gd name="connsiteX4" fmla="*/ 0 w 8354"/>
              <a:gd name="connsiteY4" fmla="*/ 133 h 1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54" h="10003">
                <a:moveTo>
                  <a:pt x="0" y="133"/>
                </a:moveTo>
                <a:lnTo>
                  <a:pt x="8354" y="0"/>
                </a:lnTo>
                <a:cubicBezTo>
                  <a:pt x="8314" y="3334"/>
                  <a:pt x="8275" y="6669"/>
                  <a:pt x="8235" y="10003"/>
                </a:cubicBezTo>
                <a:lnTo>
                  <a:pt x="102" y="10000"/>
                </a:lnTo>
                <a:cubicBezTo>
                  <a:pt x="99" y="6640"/>
                  <a:pt x="3" y="3476"/>
                  <a:pt x="0" y="13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096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65" r:id="rId3"/>
    <p:sldLayoutId id="2147483662" r:id="rId4"/>
    <p:sldLayoutId id="2147483667" r:id="rId5"/>
    <p:sldLayoutId id="2147483668" r:id="rId6"/>
    <p:sldLayoutId id="2147483663" r:id="rId7"/>
    <p:sldLayoutId id="2147483657" r:id="rId8"/>
    <p:sldLayoutId id="2147483666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000"/>
        </a:lnSpc>
        <a:spcBef>
          <a:spcPts val="0"/>
        </a:spcBef>
        <a:spcAft>
          <a:spcPts val="1000"/>
        </a:spcAft>
        <a:buClr>
          <a:schemeClr val="tx2"/>
        </a:buClr>
        <a:buSzPct val="90000"/>
        <a:buFont typeface="Wingdings" panose="05000000000000000000" pitchFamily="2" charset="2"/>
        <a:buNone/>
        <a:tabLst/>
        <a:defRPr sz="18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000"/>
        </a:lnSpc>
        <a:spcBef>
          <a:spcPts val="0"/>
        </a:spcBef>
        <a:buClr>
          <a:schemeClr val="tx2"/>
        </a:buClr>
        <a:buSzPct val="9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ts val="2000"/>
        </a:lnSpc>
        <a:spcBef>
          <a:spcPts val="0"/>
        </a:spcBef>
        <a:buClr>
          <a:schemeClr val="tx2"/>
        </a:buClr>
        <a:buSzPct val="90000"/>
        <a:buFont typeface="Wingdings" panose="05000000000000000000" pitchFamily="2" charset="2"/>
        <a:buChar char="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357188" indent="-184150" algn="l" defTabSz="914400" rtl="0" eaLnBrk="1" latinLnBrk="0" hangingPunct="1">
        <a:lnSpc>
          <a:spcPts val="2000"/>
        </a:lnSpc>
        <a:spcBef>
          <a:spcPts val="0"/>
        </a:spcBef>
        <a:buClr>
          <a:schemeClr val="tx2"/>
        </a:buClr>
        <a:buSzPct val="90000"/>
        <a:buFont typeface="Wingdings" panose="05000000000000000000" pitchFamily="2" charset="2"/>
        <a:buChar char=""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530225" indent="-171450" algn="l" defTabSz="914400" rtl="0" eaLnBrk="1" latinLnBrk="0" hangingPunct="1">
        <a:lnSpc>
          <a:spcPts val="2000"/>
        </a:lnSpc>
        <a:spcBef>
          <a:spcPts val="0"/>
        </a:spcBef>
        <a:buClr>
          <a:schemeClr val="tx2"/>
        </a:buClr>
        <a:buSzPct val="90000"/>
        <a:buFont typeface="Wingdings" panose="05000000000000000000" pitchFamily="2" charset="2"/>
        <a:buChar char="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92138" indent="-231775" algn="l" defTabSz="914400" rtl="0" eaLnBrk="1" latinLnBrk="0" hangingPunct="1">
        <a:spcBef>
          <a:spcPct val="20000"/>
        </a:spcBef>
        <a:buClr>
          <a:schemeClr val="tx2"/>
        </a:buClr>
        <a:buSzPct val="90000"/>
        <a:buFont typeface="Wingdings" panose="05000000000000000000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85" name="Picture 345" descr="N:\002_Aktuelle_Projekte\europex\PPT Titel Studie\ansicht mit Tex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3632" y="-130224"/>
            <a:ext cx="9317632" cy="6988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2312876"/>
            <a:ext cx="7710559" cy="1260140"/>
          </a:xfrm>
        </p:spPr>
        <p:txBody>
          <a:bodyPr/>
          <a:lstStyle/>
          <a:p>
            <a:pPr algn="ctr"/>
            <a:r>
              <a:rPr lang="en-GB" sz="4000" dirty="0">
                <a:cs typeface="Arial"/>
              </a:rPr>
              <a:t>Keeping to 1.5 degrees</a:t>
            </a:r>
            <a:br>
              <a:rPr lang="en-GB" sz="4000" dirty="0">
                <a:cs typeface="Arial"/>
              </a:rPr>
            </a:br>
            <a:r>
              <a:rPr lang="en-GB" sz="2400" b="0" dirty="0">
                <a:cs typeface="Arial"/>
              </a:rPr>
              <a:t>How markets and Europe must lead on Paris</a:t>
            </a:r>
            <a:br>
              <a:rPr lang="en-GB" sz="2400" b="0" dirty="0">
                <a:cs typeface="Arial"/>
              </a:rPr>
            </a:br>
            <a:br>
              <a:rPr lang="en-GB" dirty="0">
                <a:cs typeface="Arial"/>
              </a:rPr>
            </a:br>
            <a:endParaRPr lang="en-GB" sz="2400" b="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9557" y="6244281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>
            <a:norm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63CB0E-93B5-DB43-9941-FFA03BCF04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251" y="5856778"/>
            <a:ext cx="1728192" cy="76770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C0AB5AB-8EA4-8B4C-98A3-61B091180F0E}"/>
              </a:ext>
            </a:extLst>
          </p:cNvPr>
          <p:cNvSpPr txBox="1"/>
          <p:nvPr/>
        </p:nvSpPr>
        <p:spPr>
          <a:xfrm>
            <a:off x="4355976" y="4365104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>
            <a:normAutofit/>
          </a:bodyPr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3BEEFE2-E42B-D64B-AAD9-A61736B906A8}"/>
              </a:ext>
            </a:extLst>
          </p:cNvPr>
          <p:cNvSpPr/>
          <p:nvPr/>
        </p:nvSpPr>
        <p:spPr>
          <a:xfrm>
            <a:off x="0" y="3995772"/>
            <a:ext cx="77105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  <a:cs typeface="Arial"/>
              </a:rPr>
              <a:t>First European Climate Summit – Lisbon, 16 April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352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7B590E-DAA7-0D42-AF21-5988A2404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8E4747-B6A5-CA40-BFC5-C6F1DD3EFC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7D3E2A-D040-F541-96E8-F480B076D5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de-DE"/>
              <a:t>p. </a:t>
            </a:r>
            <a:fld id="{15F8C0C5-83F4-4F45-A23C-C8AFFA3B34F1}" type="slidenum">
              <a:rPr lang="de-DE" smtClean="0"/>
              <a:pPr algn="r"/>
              <a:t>2</a:t>
            </a:fld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1C3277-73CF-DB42-A7B7-2B77D2BFDA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199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97842" y="6570921"/>
            <a:ext cx="914400" cy="914400"/>
          </a:xfrm>
          <a:prstGeom prst="rect">
            <a:avLst/>
          </a:prstGeom>
        </p:spPr>
        <p:txBody>
          <a:bodyPr vert="horz" wrap="none" lIns="0" tIns="45720" rIns="0" bIns="45720" rtlCol="0">
            <a:normAutofit/>
          </a:bodyPr>
          <a:lstStyle/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370184-3850-9E4A-A9E8-1E3DC27AAF41}"/>
              </a:ext>
            </a:extLst>
          </p:cNvPr>
          <p:cNvSpPr txBox="1"/>
          <p:nvPr/>
        </p:nvSpPr>
        <p:spPr>
          <a:xfrm>
            <a:off x="8443356" y="445325"/>
            <a:ext cx="0" cy="0"/>
          </a:xfrm>
          <a:prstGeom prst="rect">
            <a:avLst/>
          </a:prstGeom>
        </p:spPr>
        <p:txBody>
          <a:bodyPr vert="horz" wrap="none" lIns="0" tIns="45720" rIns="0" bIns="45720" rtlCol="0">
            <a:normAutofit fontScale="25000" lnSpcReduction="20000"/>
          </a:bodyPr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C438BB-8384-7548-B2BA-81B41CEA20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290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uropexMaster2016">
  <a:themeElements>
    <a:clrScheme name="europex">
      <a:dk1>
        <a:sysClr val="windowText" lastClr="000000"/>
      </a:dk1>
      <a:lt1>
        <a:sysClr val="window" lastClr="FFFFFF"/>
      </a:lt1>
      <a:dk2>
        <a:srgbClr val="003362"/>
      </a:dk2>
      <a:lt2>
        <a:srgbClr val="D4D4D4"/>
      </a:lt2>
      <a:accent1>
        <a:srgbClr val="003362"/>
      </a:accent1>
      <a:accent2>
        <a:srgbClr val="D4D4D4"/>
      </a:accent2>
      <a:accent3>
        <a:srgbClr val="007FF2"/>
      </a:accent3>
      <a:accent4>
        <a:srgbClr val="4FABFF"/>
      </a:accent4>
      <a:accent5>
        <a:srgbClr val="5E5E5E"/>
      </a:accent5>
      <a:accent6>
        <a:srgbClr val="005390"/>
      </a:accent6>
      <a:hlink>
        <a:srgbClr val="002060"/>
      </a:hlink>
      <a:folHlink>
        <a:srgbClr val="0070C0"/>
      </a:folHlink>
    </a:clrScheme>
    <a:fontScheme name="Post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2"/>
          </a:solidFill>
        </a:ln>
      </a:spPr>
      <a:bodyPr rtlCol="0" anchor="ctr"/>
      <a:lstStyle>
        <a:defPPr algn="ctr">
          <a:defRPr>
            <a:solidFill>
              <a:prstClr val="white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45720" rIns="0" bIns="45720" rtlCol="0">
        <a:norm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stconMaster2014</Template>
  <TotalTime>8677</TotalTime>
  <Words>18</Words>
  <Application>Microsoft Macintosh PowerPoint</Application>
  <PresentationFormat>On-screen Show (4:3)</PresentationFormat>
  <Paragraphs>4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Wingdings</vt:lpstr>
      <vt:lpstr>EuropexMaster2016</vt:lpstr>
      <vt:lpstr>think-cell Slide</vt:lpstr>
      <vt:lpstr>Keeping to 1.5 degrees How markets and Europe must lead on Paris 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S</dc:creator>
  <cp:lastModifiedBy>Christian Baer</cp:lastModifiedBy>
  <cp:revision>331</cp:revision>
  <cp:lastPrinted>2019-04-15T12:55:16Z</cp:lastPrinted>
  <dcterms:created xsi:type="dcterms:W3CDTF">2014-07-15T13:38:54Z</dcterms:created>
  <dcterms:modified xsi:type="dcterms:W3CDTF">2019-04-15T12:59:35Z</dcterms:modified>
</cp:coreProperties>
</file>